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s/slide2.xml" ContentType="application/vnd.openxmlformats-officedocument.presentationml.slide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6.xml" ContentType="application/vnd.openxmlformats-officedocument.presentationml.slide+xml"/>
  <Override PartName="/ppt/slides/slide8.xml" ContentType="application/vnd.openxmlformats-officedocument.presentationml.slide+xml"/>
  <Override PartName="/ppt/slides/slide1.xml" ContentType="application/vnd.openxmlformats-officedocument.presentationml.slide+xml"/>
  <Override PartName="/ppt/slides/slide7.xml" ContentType="application/vnd.openxmlformats-officedocument.presentationml.slide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Masters/notesMaster1.xml" ContentType="application/vnd.openxmlformats-officedocument.presentationml.notesMaster+xml"/>
  <Override PartName="/ppt/diagrams/drawing1.xml" ContentType="application/vnd.ms-office.drawingml.diagramDrawing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2.xml" ContentType="application/vnd.openxmlformats-officedocument.theme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layout1.xml" ContentType="application/vnd.openxmlformats-officedocument.drawingml.diagramLayout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354" r:id="rId2"/>
    <p:sldId id="379" r:id="rId3"/>
    <p:sldId id="386" r:id="rId4"/>
    <p:sldId id="387" r:id="rId5"/>
    <p:sldId id="388" r:id="rId6"/>
    <p:sldId id="383" r:id="rId7"/>
    <p:sldId id="382" r:id="rId8"/>
    <p:sldId id="385" r:id="rId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794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533" autoAdjust="0"/>
  </p:normalViewPr>
  <p:slideViewPr>
    <p:cSldViewPr>
      <p:cViewPr varScale="1">
        <p:scale>
          <a:sx n="72" d="100"/>
          <a:sy n="72" d="100"/>
        </p:scale>
        <p:origin x="1266" y="5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862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18" Type="http://schemas.openxmlformats.org/officeDocument/2006/relationships/customXml" Target="../customXml/item3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openxmlformats.org/officeDocument/2006/relationships/customXml" Target="../customXml/item2.xml"/><Relationship Id="rId2" Type="http://schemas.openxmlformats.org/officeDocument/2006/relationships/slide" Target="slides/slide1.xml"/><Relationship Id="rId16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26D179E-5DE2-4773-9962-811C5108FE1E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A142AFE-5ABC-41DC-8B3E-2CD9D5F92F83}">
      <dgm:prSet/>
      <dgm:spPr/>
      <dgm:t>
        <a:bodyPr/>
        <a:lstStyle/>
        <a:p>
          <a:pPr rtl="0"/>
          <a:r>
            <a:rPr lang="en-US" b="1" dirty="0" smtClean="0"/>
            <a:t>Work Package 4 (WP4): Purchase of teaching equipment and bibliographic material</a:t>
          </a:r>
          <a:endParaRPr lang="en-US" dirty="0"/>
        </a:p>
      </dgm:t>
    </dgm:pt>
    <dgm:pt modelId="{6FADA56B-EB14-426A-ACAB-634362496804}" type="parTrans" cxnId="{A788BBB9-8CE7-4EDD-9D9E-0A29B2757C08}">
      <dgm:prSet/>
      <dgm:spPr/>
      <dgm:t>
        <a:bodyPr/>
        <a:lstStyle/>
        <a:p>
          <a:endParaRPr lang="en-US"/>
        </a:p>
      </dgm:t>
    </dgm:pt>
    <dgm:pt modelId="{B1BA5FBC-5E05-4A2E-808A-5D0AE338E93A}" type="sibTrans" cxnId="{A788BBB9-8CE7-4EDD-9D9E-0A29B2757C08}">
      <dgm:prSet/>
      <dgm:spPr/>
      <dgm:t>
        <a:bodyPr/>
        <a:lstStyle/>
        <a:p>
          <a:endParaRPr lang="en-US"/>
        </a:p>
      </dgm:t>
    </dgm:pt>
    <dgm:pt modelId="{4B425C8E-5381-4A92-AB16-9B6FF7A3C0F7}">
      <dgm:prSet/>
      <dgm:spPr/>
      <dgm:t>
        <a:bodyPr/>
        <a:lstStyle/>
        <a:p>
          <a:pPr rtl="0"/>
          <a:r>
            <a:rPr lang="en-US" dirty="0" smtClean="0"/>
            <a:t>Task 4.1: selection of equipment</a:t>
          </a:r>
          <a:endParaRPr lang="en-US" dirty="0"/>
        </a:p>
      </dgm:t>
    </dgm:pt>
    <dgm:pt modelId="{AD432683-14EE-4010-9A36-D897C8880810}" type="parTrans" cxnId="{953B77A1-D168-465F-8452-51911BCA1922}">
      <dgm:prSet/>
      <dgm:spPr/>
      <dgm:t>
        <a:bodyPr/>
        <a:lstStyle/>
        <a:p>
          <a:endParaRPr lang="en-US"/>
        </a:p>
      </dgm:t>
    </dgm:pt>
    <dgm:pt modelId="{4E257F6A-2820-43B4-99AD-6E662B9FC309}" type="sibTrans" cxnId="{953B77A1-D168-465F-8452-51911BCA1922}">
      <dgm:prSet/>
      <dgm:spPr/>
      <dgm:t>
        <a:bodyPr/>
        <a:lstStyle/>
        <a:p>
          <a:endParaRPr lang="en-US"/>
        </a:p>
      </dgm:t>
    </dgm:pt>
    <dgm:pt modelId="{076A3F2A-5B14-46E3-87A0-439E1A21A4CD}">
      <dgm:prSet/>
      <dgm:spPr/>
      <dgm:t>
        <a:bodyPr/>
        <a:lstStyle/>
        <a:p>
          <a:pPr rtl="0"/>
          <a:r>
            <a:rPr lang="en-US" smtClean="0"/>
            <a:t>Task 4.2: Implementation of the center</a:t>
          </a:r>
          <a:endParaRPr lang="en-US"/>
        </a:p>
      </dgm:t>
    </dgm:pt>
    <dgm:pt modelId="{6CA4A2F8-08B8-434B-82B1-6D78CE8A02F3}" type="parTrans" cxnId="{8AD75883-7273-4457-B56F-54A853F23582}">
      <dgm:prSet/>
      <dgm:spPr/>
      <dgm:t>
        <a:bodyPr/>
        <a:lstStyle/>
        <a:p>
          <a:endParaRPr lang="en-US"/>
        </a:p>
      </dgm:t>
    </dgm:pt>
    <dgm:pt modelId="{07A002FE-1D9A-47B7-8A0B-0A87CF2C6C4F}" type="sibTrans" cxnId="{8AD75883-7273-4457-B56F-54A853F23582}">
      <dgm:prSet/>
      <dgm:spPr/>
      <dgm:t>
        <a:bodyPr/>
        <a:lstStyle/>
        <a:p>
          <a:endParaRPr lang="en-US"/>
        </a:p>
      </dgm:t>
    </dgm:pt>
    <dgm:pt modelId="{739331C6-76C3-4655-A59D-CBFB28614A2D}" type="pres">
      <dgm:prSet presAssocID="{B26D179E-5DE2-4773-9962-811C5108FE1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BA4F778-6032-4E2E-A1B3-34FFCF211DBF}" type="pres">
      <dgm:prSet presAssocID="{1A142AFE-5ABC-41DC-8B3E-2CD9D5F92F83}" presName="composite" presStyleCnt="0"/>
      <dgm:spPr/>
    </dgm:pt>
    <dgm:pt modelId="{6AA5D11A-9317-4738-964D-460131C573BC}" type="pres">
      <dgm:prSet presAssocID="{1A142AFE-5ABC-41DC-8B3E-2CD9D5F92F83}" presName="parTx" presStyleLbl="alignNode1" presStyleIdx="0" presStyleCnt="1" custLinFactNeighborY="-2346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50BC45-7F8D-44E1-9A37-799C3E967025}" type="pres">
      <dgm:prSet presAssocID="{1A142AFE-5ABC-41DC-8B3E-2CD9D5F92F83}" presName="desTx" presStyleLbl="alignAccFollowNode1" presStyleIdx="0" presStyleCnt="1" custLinFactNeighborY="-885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788BBB9-8CE7-4EDD-9D9E-0A29B2757C08}" srcId="{B26D179E-5DE2-4773-9962-811C5108FE1E}" destId="{1A142AFE-5ABC-41DC-8B3E-2CD9D5F92F83}" srcOrd="0" destOrd="0" parTransId="{6FADA56B-EB14-426A-ACAB-634362496804}" sibTransId="{B1BA5FBC-5E05-4A2E-808A-5D0AE338E93A}"/>
    <dgm:cxn modelId="{953B77A1-D168-465F-8452-51911BCA1922}" srcId="{1A142AFE-5ABC-41DC-8B3E-2CD9D5F92F83}" destId="{4B425C8E-5381-4A92-AB16-9B6FF7A3C0F7}" srcOrd="0" destOrd="0" parTransId="{AD432683-14EE-4010-9A36-D897C8880810}" sibTransId="{4E257F6A-2820-43B4-99AD-6E662B9FC309}"/>
    <dgm:cxn modelId="{1FE1104F-D54E-4EB3-988B-26A63EB183DF}" type="presOf" srcId="{B26D179E-5DE2-4773-9962-811C5108FE1E}" destId="{739331C6-76C3-4655-A59D-CBFB28614A2D}" srcOrd="0" destOrd="0" presId="urn:microsoft.com/office/officeart/2005/8/layout/hList1"/>
    <dgm:cxn modelId="{8AD75883-7273-4457-B56F-54A853F23582}" srcId="{1A142AFE-5ABC-41DC-8B3E-2CD9D5F92F83}" destId="{076A3F2A-5B14-46E3-87A0-439E1A21A4CD}" srcOrd="1" destOrd="0" parTransId="{6CA4A2F8-08B8-434B-82B1-6D78CE8A02F3}" sibTransId="{07A002FE-1D9A-47B7-8A0B-0A87CF2C6C4F}"/>
    <dgm:cxn modelId="{4C77764F-A1A3-43F4-8CE2-4FC02B71D501}" type="presOf" srcId="{4B425C8E-5381-4A92-AB16-9B6FF7A3C0F7}" destId="{0050BC45-7F8D-44E1-9A37-799C3E967025}" srcOrd="0" destOrd="0" presId="urn:microsoft.com/office/officeart/2005/8/layout/hList1"/>
    <dgm:cxn modelId="{EC054FC7-FCAB-4B9C-B5D8-ACB2BFBD2FD0}" type="presOf" srcId="{076A3F2A-5B14-46E3-87A0-439E1A21A4CD}" destId="{0050BC45-7F8D-44E1-9A37-799C3E967025}" srcOrd="0" destOrd="1" presId="urn:microsoft.com/office/officeart/2005/8/layout/hList1"/>
    <dgm:cxn modelId="{9D0B01B4-991B-480E-AB9E-C6B153FC43A1}" type="presOf" srcId="{1A142AFE-5ABC-41DC-8B3E-2CD9D5F92F83}" destId="{6AA5D11A-9317-4738-964D-460131C573BC}" srcOrd="0" destOrd="0" presId="urn:microsoft.com/office/officeart/2005/8/layout/hList1"/>
    <dgm:cxn modelId="{622943B9-72A0-4912-B484-6EC80D65BE3E}" type="presParOf" srcId="{739331C6-76C3-4655-A59D-CBFB28614A2D}" destId="{8BA4F778-6032-4E2E-A1B3-34FFCF211DBF}" srcOrd="0" destOrd="0" presId="urn:microsoft.com/office/officeart/2005/8/layout/hList1"/>
    <dgm:cxn modelId="{22230C42-72B6-4473-993C-FF05F446ACCE}" type="presParOf" srcId="{8BA4F778-6032-4E2E-A1B3-34FFCF211DBF}" destId="{6AA5D11A-9317-4738-964D-460131C573BC}" srcOrd="0" destOrd="0" presId="urn:microsoft.com/office/officeart/2005/8/layout/hList1"/>
    <dgm:cxn modelId="{C6FDDD3D-9E1F-4C8D-B13F-FFD6C7E92DD7}" type="presParOf" srcId="{8BA4F778-6032-4E2E-A1B3-34FFCF211DBF}" destId="{0050BC45-7F8D-44E1-9A37-799C3E96702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A5D11A-9317-4738-964D-460131C573BC}">
      <dsp:nvSpPr>
        <dsp:cNvPr id="0" name=""/>
        <dsp:cNvSpPr/>
      </dsp:nvSpPr>
      <dsp:spPr>
        <a:xfrm>
          <a:off x="0" y="1514"/>
          <a:ext cx="7772400" cy="489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/>
            <a:t>Work Package 4 (WP4): Purchase of teaching equipment and bibliographic material</a:t>
          </a:r>
          <a:endParaRPr lang="en-US" sz="1700" kern="1200" dirty="0"/>
        </a:p>
      </dsp:txBody>
      <dsp:txXfrm>
        <a:off x="0" y="1514"/>
        <a:ext cx="7772400" cy="489600"/>
      </dsp:txXfrm>
    </dsp:sp>
    <dsp:sp modelId="{0050BC45-7F8D-44E1-9A37-799C3E967025}">
      <dsp:nvSpPr>
        <dsp:cNvPr id="0" name=""/>
        <dsp:cNvSpPr/>
      </dsp:nvSpPr>
      <dsp:spPr>
        <a:xfrm>
          <a:off x="0" y="539923"/>
          <a:ext cx="7772400" cy="74663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Task 4.1: selection of equipment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smtClean="0"/>
            <a:t>Task 4.2: Implementation of the center</a:t>
          </a:r>
          <a:endParaRPr lang="en-US" sz="1700" kern="1200"/>
        </a:p>
      </dsp:txBody>
      <dsp:txXfrm>
        <a:off x="0" y="539923"/>
        <a:ext cx="7772400" cy="7466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EE7045-FB39-4696-894C-F20DB1B50898}" type="datetimeFigureOut">
              <a:rPr lang="en-US" smtClean="0"/>
              <a:t>4/10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CA8291-239E-4B06-ACEB-976C7FDC2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9252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DEFEDD-4D9B-4931-AACE-48FB643C9983}" type="datetimeFigureOut">
              <a:rPr lang="en-US" smtClean="0"/>
              <a:t>4/1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38E2DF-2B28-41E6-9733-4E40B347C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2303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38E2DF-2B28-41E6-9733-4E40B347CCC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093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12A4F-09B1-4ADA-B2C1-9BE4255C1CDC}" type="datetime1">
              <a:rPr lang="en-US" smtClean="0"/>
              <a:t>4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176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990600"/>
          </a:xfrm>
        </p:spPr>
        <p:txBody>
          <a:bodyPr>
            <a:normAutofit/>
          </a:bodyPr>
          <a:lstStyle>
            <a:lvl1pPr algn="l"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263D3-1AB8-4305-8ACB-678F82FA21D2}" type="datetime1">
              <a:rPr lang="en-US" smtClean="0"/>
              <a:t>4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68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143000"/>
            <a:ext cx="2057400" cy="4983163"/>
          </a:xfrm>
        </p:spPr>
        <p:txBody>
          <a:bodyPr vert="eaVert">
            <a:normAutofit/>
          </a:bodyPr>
          <a:lstStyle>
            <a:lvl1pPr>
              <a:defRPr sz="3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43000"/>
            <a:ext cx="6019800" cy="4983163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BAD37-C59D-4E8C-8969-0D9CBE61BF00}" type="datetime1">
              <a:rPr lang="en-US" smtClean="0"/>
              <a:t>4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759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686800" cy="106680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97943"/>
            <a:ext cx="8229600" cy="4974257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97F0A-D43F-4129-B362-76AC6E69C97A}" type="datetime1">
              <a:rPr lang="en-US" smtClean="0"/>
              <a:t>4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186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F9D3A-D3F2-4478-8CE3-F86E3C949B84}" type="datetime1">
              <a:rPr lang="en-US" smtClean="0"/>
              <a:t>4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377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6200"/>
            <a:ext cx="8229600" cy="99060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75EB8-5664-4953-A391-B8170461D455}" type="datetime1">
              <a:rPr lang="en-US" smtClean="0"/>
              <a:t>4/1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327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E6196C-0660-42DA-84E7-79C6FFDB603D}" type="datetime1">
              <a:rPr lang="en-US" smtClean="0"/>
              <a:t>4/10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796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1CF21-9C7D-4A01-BC70-0A24C0DEBA6A}" type="datetime1">
              <a:rPr lang="en-US" smtClean="0"/>
              <a:t>4/10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427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CDC1-995E-435A-9E3C-2F84BFF7AA81}" type="datetime1">
              <a:rPr lang="en-US" smtClean="0"/>
              <a:t>4/10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457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4300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143000"/>
            <a:ext cx="5111750" cy="49831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438400"/>
            <a:ext cx="3008313" cy="3687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6BE17C-0250-4DE0-BBF2-DB7BCA094963}" type="datetime1">
              <a:rPr lang="en-US" smtClean="0"/>
              <a:t>4/1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235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42999"/>
            <a:ext cx="5486400" cy="35845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0C581-540A-4C76-B58B-AAB0B47FFDC5}" type="datetime1">
              <a:rPr lang="en-US" smtClean="0"/>
              <a:t>4/1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79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906"/>
            <a:ext cx="8229600" cy="49742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1BB40A-59C3-4076-A5C0-7CEFDB5845B2}" type="datetime1">
              <a:rPr lang="en-US" smtClean="0"/>
              <a:t>4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2" descr="http://www.gju.edu.jo/img/gjulogo3.jpg"/>
          <p:cNvPicPr>
            <a:picLocks noChangeAspect="1" noChangeArrowheads="1"/>
          </p:cNvPicPr>
          <p:nvPr/>
        </p:nvPicPr>
        <p:blipFill rotWithShape="1">
          <a:blip r:embed="rId15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65"/>
          <a:stretch/>
        </p:blipFill>
        <p:spPr bwMode="auto">
          <a:xfrm>
            <a:off x="8000999" y="300529"/>
            <a:ext cx="714375" cy="461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0" y="1447800"/>
            <a:ext cx="5578475" cy="4570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43688"/>
            <a:ext cx="9144000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/>
          <p:cNvCxnSpPr/>
          <p:nvPr/>
        </p:nvCxnSpPr>
        <p:spPr>
          <a:xfrm>
            <a:off x="552450" y="1065213"/>
            <a:ext cx="8075613" cy="1587"/>
          </a:xfrm>
          <a:prstGeom prst="line">
            <a:avLst/>
          </a:prstGeom>
          <a:ln w="15875">
            <a:solidFill>
              <a:srgbClr val="8CC63E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0570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.emf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85800" y="5943600"/>
            <a:ext cx="3542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Dr. Ziad Abu El-Rub</a:t>
            </a:r>
            <a:endParaRPr lang="en-US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483106" y="4248758"/>
            <a:ext cx="82036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accent1"/>
                </a:solidFill>
              </a:rPr>
              <a:t>Vocational training center for the undergraduate university students and teachers in Jordan (VTC)</a:t>
            </a:r>
          </a:p>
          <a:p>
            <a:pPr algn="ctr"/>
            <a:endParaRPr lang="en-US" b="1" dirty="0" smtClean="0">
              <a:solidFill>
                <a:schemeClr val="accent1"/>
              </a:solidFill>
            </a:endParaRPr>
          </a:p>
          <a:p>
            <a:pPr algn="ctr"/>
            <a:r>
              <a:rPr lang="en-US" b="1" dirty="0" smtClean="0"/>
              <a:t>WP4: Purchase of teaching and equipment and bibliographic material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00400" y="2147206"/>
            <a:ext cx="1981200" cy="19967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106" y="228600"/>
            <a:ext cx="2426418" cy="804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687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GJU Role in the VTC Project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2</a:t>
            </a:fld>
            <a:endParaRPr lang="en-US"/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/>
          </p:nvPr>
        </p:nvGraphicFramePr>
        <p:xfrm>
          <a:off x="152400" y="1403086"/>
          <a:ext cx="8521605" cy="12772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/>
                <a:gridCol w="1143000"/>
                <a:gridCol w="1905000"/>
                <a:gridCol w="1524000"/>
                <a:gridCol w="1295400"/>
                <a:gridCol w="1435005"/>
              </a:tblGrid>
              <a:tr h="495588">
                <a:tc>
                  <a:txBody>
                    <a:bodyPr/>
                    <a:lstStyle/>
                    <a:p>
                      <a:r>
                        <a:rPr lang="en-US" dirty="0" smtClean="0"/>
                        <a:t>Partner n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I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o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rganization</a:t>
                      </a:r>
                      <a:r>
                        <a:rPr lang="en-US" baseline="0" dirty="0" smtClean="0"/>
                        <a:t> 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ntry</a:t>
                      </a:r>
                      <a:endParaRPr lang="en-US" dirty="0"/>
                    </a:p>
                  </a:txBody>
                  <a:tcPr/>
                </a:tc>
              </a:tr>
              <a:tr h="637183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7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996241702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artner</a:t>
                      </a:r>
                      <a:r>
                        <a:rPr lang="en-US" sz="1600" baseline="0" dirty="0" smtClean="0"/>
                        <a:t> organizatio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JU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mma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Jordan</a:t>
                      </a:r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/>
          </p:nvPr>
        </p:nvGraphicFramePr>
        <p:xfrm>
          <a:off x="152398" y="3057825"/>
          <a:ext cx="8521609" cy="115663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62002"/>
                <a:gridCol w="2519950"/>
                <a:gridCol w="1640976"/>
                <a:gridCol w="1640976"/>
                <a:gridCol w="1957705"/>
              </a:tblGrid>
              <a:tr h="51655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P Tit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P Lead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P</a:t>
                      </a:r>
                      <a:r>
                        <a:rPr lang="en-US" baseline="0" dirty="0" smtClean="0"/>
                        <a:t> Co-Lead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uration</a:t>
                      </a:r>
                      <a:endParaRPr lang="en-US" dirty="0"/>
                    </a:p>
                  </a:txBody>
                  <a:tcPr/>
                </a:tc>
              </a:tr>
              <a:tr h="516554">
                <a:tc>
                  <a:txBody>
                    <a:bodyPr/>
                    <a:lstStyle/>
                    <a:p>
                      <a:r>
                        <a:rPr lang="en-US" dirty="0" smtClean="0"/>
                        <a:t>WP4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urchase</a:t>
                      </a:r>
                      <a:r>
                        <a:rPr lang="en-US" baseline="0" dirty="0" smtClean="0"/>
                        <a:t> of teaching equipme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JU, JU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ll JO Partne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5.6.16 – 15.04.17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5695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JU Te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97943"/>
            <a:ext cx="6248400" cy="5279057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GJU Contact Person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Ass. Prof. </a:t>
            </a:r>
            <a:r>
              <a:rPr lang="en-US" sz="1700" dirty="0"/>
              <a:t>at the Pharmaceutical and Chemical Engineering </a:t>
            </a:r>
            <a:r>
              <a:rPr lang="en-US" sz="1700" dirty="0" smtClean="0"/>
              <a:t>Dept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Practical </a:t>
            </a:r>
            <a:r>
              <a:rPr lang="en-US" sz="1700" dirty="0"/>
              <a:t>experience </a:t>
            </a:r>
            <a:r>
              <a:rPr lang="en-US" sz="1700" dirty="0" smtClean="0"/>
              <a:t>in </a:t>
            </a:r>
            <a:r>
              <a:rPr lang="en-US" sz="1700" dirty="0"/>
              <a:t>leading positions involving development manager and regional </a:t>
            </a:r>
            <a:r>
              <a:rPr lang="en-US" sz="1700" dirty="0" smtClean="0"/>
              <a:t>manager in the oil and gas industry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Professional </a:t>
            </a:r>
            <a:r>
              <a:rPr lang="en-US" sz="1700" dirty="0"/>
              <a:t>Engineer (JPE) in Bioenergy Engineering from the Jordan Higher Council for Professional Qualifications and </a:t>
            </a:r>
            <a:r>
              <a:rPr lang="en-US" sz="1700" dirty="0" smtClean="0"/>
              <a:t>Accreditation, 2015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A </a:t>
            </a:r>
            <a:r>
              <a:rPr lang="en-US" sz="1700" dirty="0"/>
              <a:t>aboard member of the Chemical Engineering Division (2015-2018) at the Jordan Engineers Association </a:t>
            </a:r>
            <a:endParaRPr lang="en-US" sz="1700" dirty="0" smtClean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Research areas: bioenergy</a:t>
            </a:r>
            <a:r>
              <a:rPr lang="en-US" sz="1700" dirty="0"/>
              <a:t>, </a:t>
            </a:r>
            <a:r>
              <a:rPr lang="en-US" sz="1700" dirty="0" smtClean="0"/>
              <a:t>and shale </a:t>
            </a:r>
            <a:r>
              <a:rPr lang="en-US" sz="1700" dirty="0"/>
              <a:t>oil production </a:t>
            </a:r>
            <a:r>
              <a:rPr lang="en-US" sz="1700" dirty="0" smtClean="0"/>
              <a:t>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/>
              <a:t>PhD in Chemical Engineering from the University of Twente, the Netherlands, 2008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/>
              <a:t>MSc in Technological Design from the University of Twente, the Netherlands, 2002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BSc </a:t>
            </a:r>
            <a:r>
              <a:rPr lang="en-US" sz="1700" dirty="0"/>
              <a:t>in Chemical </a:t>
            </a:r>
            <a:r>
              <a:rPr lang="en-US" sz="1700" dirty="0" smtClean="0"/>
              <a:t>Engineering, University </a:t>
            </a:r>
            <a:r>
              <a:rPr lang="en-US" sz="1700" dirty="0"/>
              <a:t>of Jordan, </a:t>
            </a:r>
            <a:r>
              <a:rPr lang="en-US" sz="1700" dirty="0" smtClean="0"/>
              <a:t>Jordan, 199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3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934200" y="2944781"/>
            <a:ext cx="20174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</a:rPr>
              <a:t>Dr. Ziad Abu El-Rub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97925" y="3276600"/>
            <a:ext cx="21698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accent1"/>
                </a:solidFill>
              </a:rPr>
              <a:t>ziad.Abuelrub@gju.edu.jo</a:t>
            </a:r>
            <a:endParaRPr lang="en-US" sz="1400" dirty="0">
              <a:solidFill>
                <a:schemeClr val="accent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96" t="6666" r="29775" b="51111"/>
          <a:stretch/>
        </p:blipFill>
        <p:spPr>
          <a:xfrm>
            <a:off x="7162800" y="1144229"/>
            <a:ext cx="1447800" cy="177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134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JU Te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97943"/>
            <a:ext cx="6096000" cy="5523532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/>
              <a:t>Vice </a:t>
            </a:r>
            <a:r>
              <a:rPr lang="en-US" sz="1600" dirty="0"/>
              <a:t>Dean </a:t>
            </a:r>
            <a:r>
              <a:rPr lang="en-US" sz="1600" dirty="0" smtClean="0"/>
              <a:t>of School </a:t>
            </a:r>
            <a:r>
              <a:rPr lang="en-US" sz="1600" dirty="0"/>
              <a:t>of Applied Medical Sciences </a:t>
            </a:r>
            <a:r>
              <a:rPr lang="en-US" sz="1600" dirty="0" smtClean="0"/>
              <a:t> </a:t>
            </a:r>
            <a:endParaRPr lang="en-US" sz="16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/>
              <a:t>PhD </a:t>
            </a:r>
            <a:r>
              <a:rPr lang="en-US" sz="1600" dirty="0"/>
              <a:t>in 2011 at the Nanotechnology and Integrated Bioengineering Centre (NIBEC), University of Ulster in the </a:t>
            </a:r>
            <a:r>
              <a:rPr lang="en-US" sz="1600" dirty="0" smtClean="0"/>
              <a:t>UK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/>
              <a:t>Researching </a:t>
            </a:r>
            <a:r>
              <a:rPr lang="en-US" sz="1600" dirty="0"/>
              <a:t>the </a:t>
            </a:r>
            <a:r>
              <a:rPr lang="en-US" sz="1600" dirty="0" err="1"/>
              <a:t>impedimetric</a:t>
            </a:r>
            <a:r>
              <a:rPr lang="en-US" sz="1600" dirty="0"/>
              <a:t> sensor for label-free point-of-care immunoassay cardiac marker systems as Laboratory-on-a-Chip devices in the field of Nanotechnology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/>
              <a:t>Worked </a:t>
            </a:r>
            <a:r>
              <a:rPr lang="en-US" sz="1600" dirty="0"/>
              <a:t>as a research assistant at the Nanotechnology and Integrated Bioengineering </a:t>
            </a:r>
            <a:r>
              <a:rPr lang="en-US" sz="1600" dirty="0" smtClean="0"/>
              <a:t>Centre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/>
              <a:t>Research area: development </a:t>
            </a:r>
            <a:r>
              <a:rPr lang="en-US" sz="1600" dirty="0"/>
              <a:t>of point-of-care (POC) diagnostics for global health initiatives. </a:t>
            </a:r>
            <a:r>
              <a:rPr lang="en-US" sz="1600" dirty="0" smtClean="0"/>
              <a:t> </a:t>
            </a:r>
            <a:endParaRPr lang="en-US" sz="16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/>
              <a:t>A member </a:t>
            </a:r>
            <a:r>
              <a:rPr lang="en-US" sz="1600" dirty="0"/>
              <a:t>of several associations such </a:t>
            </a:r>
            <a:r>
              <a:rPr lang="en-US" sz="1600" dirty="0" smtClean="0"/>
              <a:t>a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400" dirty="0" smtClean="0"/>
              <a:t> </a:t>
            </a:r>
            <a:r>
              <a:rPr lang="en-US" sz="1400" dirty="0"/>
              <a:t>Jordan Engineers Association (JEA</a:t>
            </a:r>
            <a:r>
              <a:rPr lang="en-US" sz="1400" dirty="0" smtClean="0"/>
              <a:t>), Jordan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400" dirty="0" smtClean="0"/>
              <a:t>Institute </a:t>
            </a:r>
            <a:r>
              <a:rPr lang="en-US" sz="1400" dirty="0"/>
              <a:t>of Engineering and Technology (IET), UK </a:t>
            </a:r>
            <a:endParaRPr lang="en-US" sz="1400" dirty="0" smtClean="0"/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400" dirty="0" err="1" smtClean="0"/>
              <a:t>Verein</a:t>
            </a:r>
            <a:r>
              <a:rPr lang="en-US" sz="1400" dirty="0" smtClean="0"/>
              <a:t> </a:t>
            </a:r>
            <a:r>
              <a:rPr lang="en-US" sz="1400" dirty="0" err="1"/>
              <a:t>Deutscher</a:t>
            </a:r>
            <a:r>
              <a:rPr lang="en-US" sz="1400" dirty="0"/>
              <a:t> </a:t>
            </a:r>
            <a:r>
              <a:rPr lang="en-US" sz="1400" dirty="0" err="1"/>
              <a:t>Ingenieure</a:t>
            </a:r>
            <a:r>
              <a:rPr lang="en-US" sz="1400" dirty="0"/>
              <a:t> (VDI), German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4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9000" y="1295400"/>
            <a:ext cx="1333500" cy="1714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059621" y="3035300"/>
            <a:ext cx="16922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</a:rPr>
              <a:t>Dr. Eyad Hama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97925" y="3276600"/>
            <a:ext cx="21698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accent1"/>
                </a:solidFill>
              </a:rPr>
              <a:t>Eyad.hamad@gju.edu.jo</a:t>
            </a:r>
            <a:endParaRPr lang="en-US" sz="1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170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GJU Role – WP4</a:t>
            </a:r>
            <a:endParaRPr lang="en-US" dirty="0">
              <a:solidFill>
                <a:schemeClr val="accent1"/>
              </a:solidFill>
            </a:endParaRPr>
          </a:p>
        </p:txBody>
      </p:sp>
      <p:graphicFrame>
        <p:nvGraphicFramePr>
          <p:cNvPr id="25" name="Content Placeholder 2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28606015"/>
              </p:ext>
            </p:extLst>
          </p:nvPr>
        </p:nvGraphicFramePr>
        <p:xfrm>
          <a:off x="685800" y="4267200"/>
          <a:ext cx="7772400" cy="14690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5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429000" y="2514600"/>
            <a:ext cx="1596242" cy="160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790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5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sk 4.1: Selection of the equip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4191000"/>
            <a:ext cx="5029200" cy="18288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b="1" dirty="0" smtClean="0"/>
              <a:t>Softwares</a:t>
            </a: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S Windows and MS Office</a:t>
            </a: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Antivirus</a:t>
            </a:r>
            <a:endParaRPr lang="en-US" dirty="0">
              <a:solidFill>
                <a:schemeClr val="tx1"/>
              </a:solidFill>
            </a:endParaRP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Internet access</a:t>
            </a: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E-learning Softwa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6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3600" y="1197943"/>
            <a:ext cx="2857500" cy="2857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4650" y="4191000"/>
            <a:ext cx="1790700" cy="16002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85800" y="1334031"/>
            <a:ext cx="4572000" cy="258532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/>
              <a:t>Hardwa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u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can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eam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rvers for e-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eractive whiteboa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ccessori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981200" y="6096000"/>
            <a:ext cx="474345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Deadline: 15.10.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778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/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sk 4.2: Implementation of the center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97943"/>
            <a:ext cx="4419600" cy="4974257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/>
              <a:t>Definition of tender specifications and procurement procedure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/>
              <a:t>Prepare final lists of equipment and bibliographic material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/>
              <a:t>Collect local offers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/>
              <a:t>Ensure that the selection respects the principle of “best value for money”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/>
              <a:t>Purchase of computer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/>
              <a:t>Create a base of e-learning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/>
              <a:t>Purchase </a:t>
            </a:r>
            <a:r>
              <a:rPr lang="en-US" sz="1800" dirty="0"/>
              <a:t>of materials and installation of </a:t>
            </a:r>
            <a:r>
              <a:rPr lang="en-US" sz="1800" dirty="0" smtClean="0"/>
              <a:t>equipment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/>
              <a:t>Establishment of the office for the VTC</a:t>
            </a:r>
            <a:endParaRPr lang="en-US" sz="18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7</a:t>
            </a:fld>
            <a:endParaRPr lang="en-US"/>
          </a:p>
        </p:txBody>
      </p:sp>
      <p:pic>
        <p:nvPicPr>
          <p:cNvPr id="1026" name="Picture 2" descr="http://www.sociallywired.co/wp-content/uploads/2013/08/eee-300x263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9300" y="2471737"/>
            <a:ext cx="2857500" cy="2505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981200" y="6096000"/>
            <a:ext cx="474345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Deadline: 15.9.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002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8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0900" y="2492812"/>
            <a:ext cx="2209800" cy="2227123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390900" y="4719935"/>
            <a:ext cx="2438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/>
              <a:t>Thank you!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620959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AN_iQWUkmU0zDzpUg6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0m1qubRkuAz5bL8B3.Y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51989B6F86CE48AD97A273B90B630B" ma:contentTypeVersion="1" ma:contentTypeDescription="Create a new document." ma:contentTypeScope="" ma:versionID="0484b6908e0fedf1f0bf87af664f871f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E712CAA6-3958-44C6-BC6B-3A2A6E32C9A6}"/>
</file>

<file path=customXml/itemProps2.xml><?xml version="1.0" encoding="utf-8"?>
<ds:datastoreItem xmlns:ds="http://schemas.openxmlformats.org/officeDocument/2006/customXml" ds:itemID="{A15C770F-89EF-4E3B-8C08-0824593495F6}"/>
</file>

<file path=customXml/itemProps3.xml><?xml version="1.0" encoding="utf-8"?>
<ds:datastoreItem xmlns:ds="http://schemas.openxmlformats.org/officeDocument/2006/customXml" ds:itemID="{91CE5ECA-C0B1-4F9B-8141-78FFF0F3D90B}"/>
</file>

<file path=docProps/app.xml><?xml version="1.0" encoding="utf-8"?>
<Properties xmlns="http://schemas.openxmlformats.org/officeDocument/2006/extended-properties" xmlns:vt="http://schemas.openxmlformats.org/officeDocument/2006/docPropsVTypes">
  <TotalTime>13206</TotalTime>
  <Words>453</Words>
  <Application>Microsoft Office PowerPoint</Application>
  <PresentationFormat>On-screen Show (4:3)</PresentationFormat>
  <Paragraphs>89</Paragraphs>
  <Slides>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Arial</vt:lpstr>
      <vt:lpstr>Calibri</vt:lpstr>
      <vt:lpstr>Office Theme</vt:lpstr>
      <vt:lpstr>PowerPoint Presentation</vt:lpstr>
      <vt:lpstr>GJU Role in the VTC Project</vt:lpstr>
      <vt:lpstr>GJU Team</vt:lpstr>
      <vt:lpstr>GJU Team</vt:lpstr>
      <vt:lpstr>GJU Role – WP4</vt:lpstr>
      <vt:lpstr>Task 4.1: Selection of the equipment</vt:lpstr>
      <vt:lpstr>Task 4.2: Implementation of the center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msung</dc:creator>
  <cp:lastModifiedBy>Abuelrub</cp:lastModifiedBy>
  <cp:revision>209</cp:revision>
  <dcterms:created xsi:type="dcterms:W3CDTF">2012-09-16T23:54:52Z</dcterms:created>
  <dcterms:modified xsi:type="dcterms:W3CDTF">2016-04-10T15:3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51989B6F86CE48AD97A273B90B630B</vt:lpwstr>
  </property>
</Properties>
</file>